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ED6280-51D9-47BF-97F5-BCBD04C310E6}" v="87" dt="2024-08-31T12:54:16.4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Jallipalli, Lakshmi Susmitha Jayasri SBOBNG-PTIY/AAF" userId="04856b88-c793-4769-a00b-f1847eebc676" providerId="ADAL" clId="{55ED6280-51D9-47BF-97F5-BCBD04C310E6}"/>
    <pc:docChg chg="undo custSel modSld">
      <pc:chgData name="Jallipalli, Lakshmi Susmitha Jayasri SBOBNG-PTIY/AAF" userId="04856b88-c793-4769-a00b-f1847eebc676" providerId="ADAL" clId="{55ED6280-51D9-47BF-97F5-BCBD04C310E6}" dt="2024-08-31T12:54:16.418" v="8231" actId="14100"/>
      <pc:docMkLst>
        <pc:docMk/>
      </pc:docMkLst>
      <pc:sldChg chg="addSp modSp">
        <pc:chgData name="Jallipalli, Lakshmi Susmitha Jayasri SBOBNG-PTIY/AAF" userId="04856b88-c793-4769-a00b-f1847eebc676" providerId="ADAL" clId="{55ED6280-51D9-47BF-97F5-BCBD04C310E6}" dt="2024-08-30T08:39:47.688" v="0" actId="931"/>
        <pc:sldMkLst>
          <pc:docMk/>
          <pc:sldMk cId="867832184" sldId="2147375589"/>
        </pc:sldMkLst>
        <pc:picChg chg="add mod">
          <ac:chgData name="Jallipalli, Lakshmi Susmitha Jayasri SBOBNG-PTIY/AAF" userId="04856b88-c793-4769-a00b-f1847eebc676" providerId="ADAL" clId="{55ED6280-51D9-47BF-97F5-BCBD04C310E6}" dt="2024-08-30T08:39:47.688" v="0" actId="931"/>
          <ac:picMkLst>
            <pc:docMk/>
            <pc:sldMk cId="867832184" sldId="2147375589"/>
            <ac:picMk id="6" creationId="{53AD419E-EB29-D460-6701-7886F9334231}"/>
          </ac:picMkLst>
        </pc:picChg>
      </pc:sldChg>
      <pc:sldChg chg="addSp modSp mod">
        <pc:chgData name="Jallipalli, Lakshmi Susmitha Jayasri SBOBNG-PTIY/AAF" userId="04856b88-c793-4769-a00b-f1847eebc676" providerId="ADAL" clId="{55ED6280-51D9-47BF-97F5-BCBD04C310E6}" dt="2024-08-31T03:16:31.550" v="2378" actId="20577"/>
        <pc:sldMkLst>
          <pc:docMk/>
          <pc:sldMk cId="245881457" sldId="2147375597"/>
        </pc:sldMkLst>
        <pc:spChg chg="add">
          <ac:chgData name="Jallipalli, Lakshmi Susmitha Jayasri SBOBNG-PTIY/AAF" userId="04856b88-c793-4769-a00b-f1847eebc676" providerId="ADAL" clId="{55ED6280-51D9-47BF-97F5-BCBD04C310E6}" dt="2024-08-30T09:28:43.208" v="1"/>
          <ac:spMkLst>
            <pc:docMk/>
            <pc:sldMk cId="245881457" sldId="2147375597"/>
            <ac:spMk id="2" creationId="{065877F9-7558-01F7-6F10-F3877C8CED47}"/>
          </ac:spMkLst>
        </pc:spChg>
        <pc:spChg chg="add">
          <ac:chgData name="Jallipalli, Lakshmi Susmitha Jayasri SBOBNG-PTIY/AAF" userId="04856b88-c793-4769-a00b-f1847eebc676" providerId="ADAL" clId="{55ED6280-51D9-47BF-97F5-BCBD04C310E6}" dt="2024-08-30T09:28:46.923" v="2"/>
          <ac:spMkLst>
            <pc:docMk/>
            <pc:sldMk cId="245881457" sldId="2147375597"/>
            <ac:spMk id="5" creationId="{E7BDE7F4-3024-46CC-64EA-52D313504DE3}"/>
          </ac:spMkLst>
        </pc:spChg>
        <pc:spChg chg="add">
          <ac:chgData name="Jallipalli, Lakshmi Susmitha Jayasri SBOBNG-PTIY/AAF" userId="04856b88-c793-4769-a00b-f1847eebc676" providerId="ADAL" clId="{55ED6280-51D9-47BF-97F5-BCBD04C310E6}" dt="2024-08-30T09:28:50.491" v="3"/>
          <ac:spMkLst>
            <pc:docMk/>
            <pc:sldMk cId="245881457" sldId="2147375597"/>
            <ac:spMk id="6" creationId="{FBC938CB-415A-E7BC-B00B-1D916124BC48}"/>
          </ac:spMkLst>
        </pc:spChg>
        <pc:spChg chg="mod">
          <ac:chgData name="Jallipalli, Lakshmi Susmitha Jayasri SBOBNG-PTIY/AAF" userId="04856b88-c793-4769-a00b-f1847eebc676" providerId="ADAL" clId="{55ED6280-51D9-47BF-97F5-BCBD04C310E6}" dt="2024-08-31T03:16:31.550" v="2378" actId="20577"/>
          <ac:spMkLst>
            <pc:docMk/>
            <pc:sldMk cId="245881457" sldId="2147375597"/>
            <ac:spMk id="11" creationId="{DE9F1BE0-7910-FA1B-DCE8-56EFD1E4FC09}"/>
          </ac:spMkLst>
        </pc:spChg>
        <pc:picChg chg="add mod">
          <ac:chgData name="Jallipalli, Lakshmi Susmitha Jayasri SBOBNG-PTIY/AAF" userId="04856b88-c793-4769-a00b-f1847eebc676" providerId="ADAL" clId="{55ED6280-51D9-47BF-97F5-BCBD04C310E6}" dt="2024-08-30T18:17:06.233" v="655" actId="14100"/>
          <ac:picMkLst>
            <pc:docMk/>
            <pc:sldMk cId="245881457" sldId="2147375597"/>
            <ac:picMk id="5" creationId="{8192759F-85F4-D9CB-FE55-DE57B83CACD4}"/>
          </ac:picMkLst>
        </pc:picChg>
      </pc:sldChg>
      <pc:sldChg chg="addSp modSp mod">
        <pc:chgData name="Jallipalli, Lakshmi Susmitha Jayasri SBOBNG-PTIY/AAF" userId="04856b88-c793-4769-a00b-f1847eebc676" providerId="ADAL" clId="{55ED6280-51D9-47BF-97F5-BCBD04C310E6}" dt="2024-08-31T09:26:22.577" v="8141" actId="14100"/>
        <pc:sldMkLst>
          <pc:docMk/>
          <pc:sldMk cId="1181112711" sldId="2147375600"/>
        </pc:sldMkLst>
        <pc:spChg chg="mod">
          <ac:chgData name="Jallipalli, Lakshmi Susmitha Jayasri SBOBNG-PTIY/AAF" userId="04856b88-c793-4769-a00b-f1847eebc676" providerId="ADAL" clId="{55ED6280-51D9-47BF-97F5-BCBD04C310E6}" dt="2024-08-31T02:51:56.978" v="1812" actId="20577"/>
          <ac:spMkLst>
            <pc:docMk/>
            <pc:sldMk cId="1181112711" sldId="2147375600"/>
            <ac:spMk id="11" creationId="{DE9F1BE0-7910-FA1B-DCE8-56EFD1E4FC09}"/>
          </ac:spMkLst>
        </pc:spChg>
        <pc:picChg chg="add mod">
          <ac:chgData name="Jallipalli, Lakshmi Susmitha Jayasri SBOBNG-PTIY/AAF" userId="04856b88-c793-4769-a00b-f1847eebc676" providerId="ADAL" clId="{55ED6280-51D9-47BF-97F5-BCBD04C310E6}" dt="2024-08-31T09:26:22.577" v="8141" actId="14100"/>
          <ac:picMkLst>
            <pc:docMk/>
            <pc:sldMk cId="1181112711" sldId="2147375600"/>
            <ac:picMk id="2050" creationId="{320DE141-5FE6-3935-2CC4-E1EED0EB3400}"/>
          </ac:picMkLst>
        </pc:picChg>
      </pc:sldChg>
      <pc:sldChg chg="addSp modSp mod">
        <pc:chgData name="Jallipalli, Lakshmi Susmitha Jayasri SBOBNG-PTIY/AAF" userId="04856b88-c793-4769-a00b-f1847eebc676" providerId="ADAL" clId="{55ED6280-51D9-47BF-97F5-BCBD04C310E6}" dt="2024-08-31T12:33:47.156" v="8184" actId="2"/>
        <pc:sldMkLst>
          <pc:docMk/>
          <pc:sldMk cId="3233747587" sldId="2147375601"/>
        </pc:sldMkLst>
        <pc:spChg chg="mod">
          <ac:chgData name="Jallipalli, Lakshmi Susmitha Jayasri SBOBNG-PTIY/AAF" userId="04856b88-c793-4769-a00b-f1847eebc676" providerId="ADAL" clId="{55ED6280-51D9-47BF-97F5-BCBD04C310E6}" dt="2024-08-31T12:33:47.156" v="8184" actId="2"/>
          <ac:spMkLst>
            <pc:docMk/>
            <pc:sldMk cId="3233747587" sldId="2147375601"/>
            <ac:spMk id="11" creationId="{DE9F1BE0-7910-FA1B-DCE8-56EFD1E4FC09}"/>
          </ac:spMkLst>
        </pc:spChg>
        <pc:spChg chg="mod">
          <ac:chgData name="Jallipalli, Lakshmi Susmitha Jayasri SBOBNG-PTIY/AAF" userId="04856b88-c793-4769-a00b-f1847eebc676" providerId="ADAL" clId="{55ED6280-51D9-47BF-97F5-BCBD04C310E6}" dt="2024-08-31T09:26:46.615" v="8145" actId="14100"/>
          <ac:spMkLst>
            <pc:docMk/>
            <pc:sldMk cId="3233747587" sldId="2147375601"/>
            <ac:spMk id="12" creationId="{E53E5C3F-4D2B-B85F-E592-E58E032C664C}"/>
          </ac:spMkLst>
        </pc:spChg>
        <pc:picChg chg="add mod">
          <ac:chgData name="Jallipalli, Lakshmi Susmitha Jayasri SBOBNG-PTIY/AAF" userId="04856b88-c793-4769-a00b-f1847eebc676" providerId="ADAL" clId="{55ED6280-51D9-47BF-97F5-BCBD04C310E6}" dt="2024-08-31T09:27:32.330" v="8152" actId="14100"/>
          <ac:picMkLst>
            <pc:docMk/>
            <pc:sldMk cId="3233747587" sldId="2147375601"/>
            <ac:picMk id="5" creationId="{87472080-581D-3F9D-81DB-D70183D8F7F8}"/>
          </ac:picMkLst>
        </pc:picChg>
        <pc:picChg chg="add mod">
          <ac:chgData name="Jallipalli, Lakshmi Susmitha Jayasri SBOBNG-PTIY/AAF" userId="04856b88-c793-4769-a00b-f1847eebc676" providerId="ADAL" clId="{55ED6280-51D9-47BF-97F5-BCBD04C310E6}" dt="2024-08-31T09:26:21.974" v="8140" actId="14100"/>
          <ac:picMkLst>
            <pc:docMk/>
            <pc:sldMk cId="3233747587" sldId="2147375601"/>
            <ac:picMk id="3074" creationId="{D9D568A1-C6DB-3464-F24C-F74361F52D87}"/>
          </ac:picMkLst>
        </pc:picChg>
        <pc:picChg chg="add mod">
          <ac:chgData name="Jallipalli, Lakshmi Susmitha Jayasri SBOBNG-PTIY/AAF" userId="04856b88-c793-4769-a00b-f1847eebc676" providerId="ADAL" clId="{55ED6280-51D9-47BF-97F5-BCBD04C310E6}" dt="2024-08-31T09:26:46.615" v="8145" actId="14100"/>
          <ac:picMkLst>
            <pc:docMk/>
            <pc:sldMk cId="3233747587" sldId="2147375601"/>
            <ac:picMk id="3075" creationId="{A2881BF0-8035-B894-24E3-E1F4F4A3BDEB}"/>
          </ac:picMkLst>
        </pc:picChg>
      </pc:sldChg>
      <pc:sldChg chg="addSp modSp mod">
        <pc:chgData name="Jallipalli, Lakshmi Susmitha Jayasri SBOBNG-PTIY/AAF" userId="04856b88-c793-4769-a00b-f1847eebc676" providerId="ADAL" clId="{55ED6280-51D9-47BF-97F5-BCBD04C310E6}" dt="2024-08-31T09:35:57.537" v="8162" actId="14100"/>
        <pc:sldMkLst>
          <pc:docMk/>
          <pc:sldMk cId="3971512377" sldId="2147375603"/>
        </pc:sldMkLst>
        <pc:spChg chg="mod">
          <ac:chgData name="Jallipalli, Lakshmi Susmitha Jayasri SBOBNG-PTIY/AAF" userId="04856b88-c793-4769-a00b-f1847eebc676" providerId="ADAL" clId="{55ED6280-51D9-47BF-97F5-BCBD04C310E6}" dt="2024-08-31T03:33:20.698" v="3007" actId="255"/>
          <ac:spMkLst>
            <pc:docMk/>
            <pc:sldMk cId="3971512377" sldId="2147375603"/>
            <ac:spMk id="11" creationId="{DE9F1BE0-7910-FA1B-DCE8-56EFD1E4FC09}"/>
          </ac:spMkLst>
        </pc:spChg>
        <pc:picChg chg="add mod">
          <ac:chgData name="Jallipalli, Lakshmi Susmitha Jayasri SBOBNG-PTIY/AAF" userId="04856b88-c793-4769-a00b-f1847eebc676" providerId="ADAL" clId="{55ED6280-51D9-47BF-97F5-BCBD04C310E6}" dt="2024-08-31T09:35:57.537" v="8162" actId="14100"/>
          <ac:picMkLst>
            <pc:docMk/>
            <pc:sldMk cId="3971512377" sldId="2147375603"/>
            <ac:picMk id="4098" creationId="{B48A67E8-62F0-4C54-FCAC-C8025AE24576}"/>
          </ac:picMkLst>
        </pc:picChg>
      </pc:sldChg>
      <pc:sldChg chg="addSp modSp mod">
        <pc:chgData name="Jallipalli, Lakshmi Susmitha Jayasri SBOBNG-PTIY/AAF" userId="04856b88-c793-4769-a00b-f1847eebc676" providerId="ADAL" clId="{55ED6280-51D9-47BF-97F5-BCBD04C310E6}" dt="2024-08-31T09:36:44.163" v="8174" actId="14100"/>
        <pc:sldMkLst>
          <pc:docMk/>
          <pc:sldMk cId="3179805674" sldId="2147375604"/>
        </pc:sldMkLst>
        <pc:spChg chg="mod">
          <ac:chgData name="Jallipalli, Lakshmi Susmitha Jayasri SBOBNG-PTIY/AAF" userId="04856b88-c793-4769-a00b-f1847eebc676" providerId="ADAL" clId="{55ED6280-51D9-47BF-97F5-BCBD04C310E6}" dt="2024-08-31T06:33:27.257" v="4536" actId="255"/>
          <ac:spMkLst>
            <pc:docMk/>
            <pc:sldMk cId="3179805674" sldId="2147375604"/>
            <ac:spMk id="11" creationId="{DE9F1BE0-7910-FA1B-DCE8-56EFD1E4FC09}"/>
          </ac:spMkLst>
        </pc:spChg>
        <pc:spChg chg="mod">
          <ac:chgData name="Jallipalli, Lakshmi Susmitha Jayasri SBOBNG-PTIY/AAF" userId="04856b88-c793-4769-a00b-f1847eebc676" providerId="ADAL" clId="{55ED6280-51D9-47BF-97F5-BCBD04C310E6}" dt="2024-08-31T06:33:32.376" v="4538" actId="1038"/>
          <ac:spMkLst>
            <pc:docMk/>
            <pc:sldMk cId="3179805674" sldId="2147375604"/>
            <ac:spMk id="12" creationId="{E53E5C3F-4D2B-B85F-E592-E58E032C664C}"/>
          </ac:spMkLst>
        </pc:spChg>
        <pc:picChg chg="add mod">
          <ac:chgData name="Jallipalli, Lakshmi Susmitha Jayasri SBOBNG-PTIY/AAF" userId="04856b88-c793-4769-a00b-f1847eebc676" providerId="ADAL" clId="{55ED6280-51D9-47BF-97F5-BCBD04C310E6}" dt="2024-08-31T09:36:44.163" v="8174" actId="14100"/>
          <ac:picMkLst>
            <pc:docMk/>
            <pc:sldMk cId="3179805674" sldId="2147375604"/>
            <ac:picMk id="5122" creationId="{4383E360-7D2C-646F-B3A9-DA18E75EAE5D}"/>
          </ac:picMkLst>
        </pc:picChg>
      </pc:sldChg>
      <pc:sldChg chg="addSp modSp mod">
        <pc:chgData name="Jallipalli, Lakshmi Susmitha Jayasri SBOBNG-PTIY/AAF" userId="04856b88-c793-4769-a00b-f1847eebc676" providerId="ADAL" clId="{55ED6280-51D9-47BF-97F5-BCBD04C310E6}" dt="2024-08-31T09:37:38.917" v="8180" actId="14100"/>
        <pc:sldMkLst>
          <pc:docMk/>
          <pc:sldMk cId="86366928" sldId="2147375605"/>
        </pc:sldMkLst>
        <pc:spChg chg="mod">
          <ac:chgData name="Jallipalli, Lakshmi Susmitha Jayasri SBOBNG-PTIY/AAF" userId="04856b88-c793-4769-a00b-f1847eebc676" providerId="ADAL" clId="{55ED6280-51D9-47BF-97F5-BCBD04C310E6}" dt="2024-08-31T06:02:23.594" v="3936" actId="20577"/>
          <ac:spMkLst>
            <pc:docMk/>
            <pc:sldMk cId="86366928" sldId="2147375605"/>
            <ac:spMk id="11" creationId="{DE9F1BE0-7910-FA1B-DCE8-56EFD1E4FC09}"/>
          </ac:spMkLst>
        </pc:spChg>
        <pc:picChg chg="add mod">
          <ac:chgData name="Jallipalli, Lakshmi Susmitha Jayasri SBOBNG-PTIY/AAF" userId="04856b88-c793-4769-a00b-f1847eebc676" providerId="ADAL" clId="{55ED6280-51D9-47BF-97F5-BCBD04C310E6}" dt="2024-08-31T09:37:38.917" v="8180" actId="14100"/>
          <ac:picMkLst>
            <pc:docMk/>
            <pc:sldMk cId="86366928" sldId="2147375605"/>
            <ac:picMk id="6146" creationId="{DF747A7B-B57C-8702-94BD-5FF37F486D65}"/>
          </ac:picMkLst>
        </pc:picChg>
      </pc:sldChg>
      <pc:sldChg chg="addSp modSp mod">
        <pc:chgData name="Jallipalli, Lakshmi Susmitha Jayasri SBOBNG-PTIY/AAF" userId="04856b88-c793-4769-a00b-f1847eebc676" providerId="ADAL" clId="{55ED6280-51D9-47BF-97F5-BCBD04C310E6}" dt="2024-08-31T09:03:59.342" v="8089" actId="14100"/>
        <pc:sldMkLst>
          <pc:docMk/>
          <pc:sldMk cId="2340944189" sldId="2147375607"/>
        </pc:sldMkLst>
        <pc:spChg chg="mod">
          <ac:chgData name="Jallipalli, Lakshmi Susmitha Jayasri SBOBNG-PTIY/AAF" userId="04856b88-c793-4769-a00b-f1847eebc676" providerId="ADAL" clId="{55ED6280-51D9-47BF-97F5-BCBD04C310E6}" dt="2024-08-31T07:42:16.508" v="4828" actId="1036"/>
          <ac:spMkLst>
            <pc:docMk/>
            <pc:sldMk cId="2340944189" sldId="2147375607"/>
            <ac:spMk id="11" creationId="{DE9F1BE0-7910-FA1B-DCE8-56EFD1E4FC09}"/>
          </ac:spMkLst>
        </pc:spChg>
        <pc:spChg chg="mod">
          <ac:chgData name="Jallipalli, Lakshmi Susmitha Jayasri SBOBNG-PTIY/AAF" userId="04856b88-c793-4769-a00b-f1847eebc676" providerId="ADAL" clId="{55ED6280-51D9-47BF-97F5-BCBD04C310E6}" dt="2024-08-31T06:24:55.610" v="4528" actId="20577"/>
          <ac:spMkLst>
            <pc:docMk/>
            <pc:sldMk cId="2340944189" sldId="2147375607"/>
            <ac:spMk id="12" creationId="{E53E5C3F-4D2B-B85F-E592-E58E032C664C}"/>
          </ac:spMkLst>
        </pc:spChg>
        <pc:picChg chg="add mod">
          <ac:chgData name="Jallipalli, Lakshmi Susmitha Jayasri SBOBNG-PTIY/AAF" userId="04856b88-c793-4769-a00b-f1847eebc676" providerId="ADAL" clId="{55ED6280-51D9-47BF-97F5-BCBD04C310E6}" dt="2024-08-31T09:03:59.342" v="8089" actId="14100"/>
          <ac:picMkLst>
            <pc:docMk/>
            <pc:sldMk cId="2340944189" sldId="2147375607"/>
            <ac:picMk id="6" creationId="{C9654071-0EC0-3816-0B54-B384555C8C37}"/>
          </ac:picMkLst>
        </pc:picChg>
      </pc:sldChg>
      <pc:sldChg chg="addSp modSp mod">
        <pc:chgData name="Jallipalli, Lakshmi Susmitha Jayasri SBOBNG-PTIY/AAF" userId="04856b88-c793-4769-a00b-f1847eebc676" providerId="ADAL" clId="{55ED6280-51D9-47BF-97F5-BCBD04C310E6}" dt="2024-08-31T09:07:19.642" v="8111" actId="14100"/>
        <pc:sldMkLst>
          <pc:docMk/>
          <pc:sldMk cId="3159148252" sldId="2147375608"/>
        </pc:sldMkLst>
        <pc:spChg chg="mod">
          <ac:chgData name="Jallipalli, Lakshmi Susmitha Jayasri SBOBNG-PTIY/AAF" userId="04856b88-c793-4769-a00b-f1847eebc676" providerId="ADAL" clId="{55ED6280-51D9-47BF-97F5-BCBD04C310E6}" dt="2024-08-31T07:59:35.362" v="5209" actId="20577"/>
          <ac:spMkLst>
            <pc:docMk/>
            <pc:sldMk cId="3159148252" sldId="2147375608"/>
            <ac:spMk id="11" creationId="{DE9F1BE0-7910-FA1B-DCE8-56EFD1E4FC09}"/>
          </ac:spMkLst>
        </pc:spChg>
        <pc:spChg chg="mod">
          <ac:chgData name="Jallipalli, Lakshmi Susmitha Jayasri SBOBNG-PTIY/AAF" userId="04856b88-c793-4769-a00b-f1847eebc676" providerId="ADAL" clId="{55ED6280-51D9-47BF-97F5-BCBD04C310E6}" dt="2024-08-31T09:05:31.246" v="8101" actId="14100"/>
          <ac:spMkLst>
            <pc:docMk/>
            <pc:sldMk cId="3159148252" sldId="2147375608"/>
            <ac:spMk id="12" creationId="{E53E5C3F-4D2B-B85F-E592-E58E032C664C}"/>
          </ac:spMkLst>
        </pc:spChg>
        <pc:picChg chg="add mod">
          <ac:chgData name="Jallipalli, Lakshmi Susmitha Jayasri SBOBNG-PTIY/AAF" userId="04856b88-c793-4769-a00b-f1847eebc676" providerId="ADAL" clId="{55ED6280-51D9-47BF-97F5-BCBD04C310E6}" dt="2024-08-31T09:07:19.642" v="8111" actId="14100"/>
          <ac:picMkLst>
            <pc:docMk/>
            <pc:sldMk cId="3159148252" sldId="2147375608"/>
            <ac:picMk id="6" creationId="{0BC8DA3C-03FA-81A9-65FF-93F17699C673}"/>
          </ac:picMkLst>
        </pc:picChg>
        <pc:picChg chg="add mod">
          <ac:chgData name="Jallipalli, Lakshmi Susmitha Jayasri SBOBNG-PTIY/AAF" userId="04856b88-c793-4769-a00b-f1847eebc676" providerId="ADAL" clId="{55ED6280-51D9-47BF-97F5-BCBD04C310E6}" dt="2024-08-31T09:05:23.140" v="8098" actId="1076"/>
          <ac:picMkLst>
            <pc:docMk/>
            <pc:sldMk cId="3159148252" sldId="2147375608"/>
            <ac:picMk id="1026" creationId="{BE67A7A8-EE84-0FB6-EC4B-110225D6510F}"/>
          </ac:picMkLst>
        </pc:picChg>
        <pc:picChg chg="add mod">
          <ac:chgData name="Jallipalli, Lakshmi Susmitha Jayasri SBOBNG-PTIY/AAF" userId="04856b88-c793-4769-a00b-f1847eebc676" providerId="ADAL" clId="{55ED6280-51D9-47BF-97F5-BCBD04C310E6}" dt="2024-08-31T09:05:31.246" v="8101" actId="14100"/>
          <ac:picMkLst>
            <pc:docMk/>
            <pc:sldMk cId="3159148252" sldId="2147375608"/>
            <ac:picMk id="1028" creationId="{E6E64025-0791-D1E7-4CCB-8BCC096A8285}"/>
          </ac:picMkLst>
        </pc:picChg>
      </pc:sldChg>
      <pc:sldChg chg="addSp modSp mod">
        <pc:chgData name="Jallipalli, Lakshmi Susmitha Jayasri SBOBNG-PTIY/AAF" userId="04856b88-c793-4769-a00b-f1847eebc676" providerId="ADAL" clId="{55ED6280-51D9-47BF-97F5-BCBD04C310E6}" dt="2024-08-31T12:33:49.203" v="8186" actId="2"/>
        <pc:sldMkLst>
          <pc:docMk/>
          <pc:sldMk cId="3070204084" sldId="2147375609"/>
        </pc:sldMkLst>
        <pc:spChg chg="mod">
          <ac:chgData name="Jallipalli, Lakshmi Susmitha Jayasri SBOBNG-PTIY/AAF" userId="04856b88-c793-4769-a00b-f1847eebc676" providerId="ADAL" clId="{55ED6280-51D9-47BF-97F5-BCBD04C310E6}" dt="2024-08-31T12:33:49.203" v="8186" actId="2"/>
          <ac:spMkLst>
            <pc:docMk/>
            <pc:sldMk cId="3070204084" sldId="2147375609"/>
            <ac:spMk id="11" creationId="{DE9F1BE0-7910-FA1B-DCE8-56EFD1E4FC09}"/>
          </ac:spMkLst>
        </pc:spChg>
        <pc:picChg chg="add mod">
          <ac:chgData name="Jallipalli, Lakshmi Susmitha Jayasri SBOBNG-PTIY/AAF" userId="04856b88-c793-4769-a00b-f1847eebc676" providerId="ADAL" clId="{55ED6280-51D9-47BF-97F5-BCBD04C310E6}" dt="2024-08-31T09:19:47.320" v="8120" actId="14100"/>
          <ac:picMkLst>
            <pc:docMk/>
            <pc:sldMk cId="3070204084" sldId="2147375609"/>
            <ac:picMk id="6" creationId="{F8532A21-C41D-3D04-5876-B309738B6DC2}"/>
          </ac:picMkLst>
        </pc:picChg>
      </pc:sldChg>
      <pc:sldChg chg="modSp mod">
        <pc:chgData name="Jallipalli, Lakshmi Susmitha Jayasri SBOBNG-PTIY/AAF" userId="04856b88-c793-4769-a00b-f1847eebc676" providerId="ADAL" clId="{55ED6280-51D9-47BF-97F5-BCBD04C310E6}" dt="2024-08-31T12:51:15.605" v="8223" actId="20577"/>
        <pc:sldMkLst>
          <pc:docMk/>
          <pc:sldMk cId="3754613224" sldId="2147375611"/>
        </pc:sldMkLst>
        <pc:spChg chg="mod">
          <ac:chgData name="Jallipalli, Lakshmi Susmitha Jayasri SBOBNG-PTIY/AAF" userId="04856b88-c793-4769-a00b-f1847eebc676" providerId="ADAL" clId="{55ED6280-51D9-47BF-97F5-BCBD04C310E6}" dt="2024-08-31T12:51:15.605" v="8223" actId="20577"/>
          <ac:spMkLst>
            <pc:docMk/>
            <pc:sldMk cId="3754613224" sldId="2147375611"/>
            <ac:spMk id="18" creationId="{6C73795A-BE20-7075-E9C6-6F145CE60794}"/>
          </ac:spMkLst>
        </pc:spChg>
        <pc:spChg chg="mod">
          <ac:chgData name="Jallipalli, Lakshmi Susmitha Jayasri SBOBNG-PTIY/AAF" userId="04856b88-c793-4769-a00b-f1847eebc676" providerId="ADAL" clId="{55ED6280-51D9-47BF-97F5-BCBD04C310E6}" dt="2024-08-31T08:14:22.514" v="5957" actId="20577"/>
          <ac:spMkLst>
            <pc:docMk/>
            <pc:sldMk cId="3754613224" sldId="2147375611"/>
            <ac:spMk id="19" creationId="{A3E2F4D1-4417-E244-3DB9-A6FF5866A342}"/>
          </ac:spMkLst>
        </pc:spChg>
        <pc:spChg chg="mod">
          <ac:chgData name="Jallipalli, Lakshmi Susmitha Jayasri SBOBNG-PTIY/AAF" userId="04856b88-c793-4769-a00b-f1847eebc676" providerId="ADAL" clId="{55ED6280-51D9-47BF-97F5-BCBD04C310E6}" dt="2024-08-31T12:50:18.771" v="8190" actId="20577"/>
          <ac:spMkLst>
            <pc:docMk/>
            <pc:sldMk cId="3754613224" sldId="2147375611"/>
            <ac:spMk id="20" creationId="{3EBEB0AC-D407-44FD-A74F-90F67F3D13C3}"/>
          </ac:spMkLst>
        </pc:spChg>
      </pc:sldChg>
      <pc:sldChg chg="addSp modSp mod">
        <pc:chgData name="Jallipalli, Lakshmi Susmitha Jayasri SBOBNG-PTIY/AAF" userId="04856b88-c793-4769-a00b-f1847eebc676" providerId="ADAL" clId="{55ED6280-51D9-47BF-97F5-BCBD04C310E6}" dt="2024-08-31T12:54:16.418" v="8231" actId="14100"/>
        <pc:sldMkLst>
          <pc:docMk/>
          <pc:sldMk cId="1148838763" sldId="2147375613"/>
        </pc:sldMkLst>
        <pc:spChg chg="mod">
          <ac:chgData name="Jallipalli, Lakshmi Susmitha Jayasri SBOBNG-PTIY/AAF" userId="04856b88-c793-4769-a00b-f1847eebc676" providerId="ADAL" clId="{55ED6280-51D9-47BF-97F5-BCBD04C310E6}" dt="2024-08-31T12:39:18.165" v="8188" actId="1038"/>
          <ac:spMkLst>
            <pc:docMk/>
            <pc:sldMk cId="1148838763" sldId="2147375613"/>
            <ac:spMk id="11" creationId="{8CC1343B-2E39-FEFF-8FF6-46822F18B432}"/>
          </ac:spMkLst>
        </pc:spChg>
        <pc:picChg chg="add mod">
          <ac:chgData name="Jallipalli, Lakshmi Susmitha Jayasri SBOBNG-PTIY/AAF" userId="04856b88-c793-4769-a00b-f1847eebc676" providerId="ADAL" clId="{55ED6280-51D9-47BF-97F5-BCBD04C310E6}" dt="2024-08-31T12:54:16.418" v="8231" actId="14100"/>
          <ac:picMkLst>
            <pc:docMk/>
            <pc:sldMk cId="1148838763" sldId="2147375613"/>
            <ac:picMk id="7170" creationId="{2E0798B1-2D68-E153-ABC1-3F6A5CE1D8EF}"/>
          </ac:picMkLst>
        </pc:picChg>
      </pc:sldChg>
      <pc:sldChg chg="modSp mod">
        <pc:chgData name="Jallipalli, Lakshmi Susmitha Jayasri SBOBNG-PTIY/AAF" userId="04856b88-c793-4769-a00b-f1847eebc676" providerId="ADAL" clId="{55ED6280-51D9-47BF-97F5-BCBD04C310E6}" dt="2024-08-31T12:33:45.512" v="8183" actId="2"/>
        <pc:sldMkLst>
          <pc:docMk/>
          <pc:sldMk cId="3865850111" sldId="2147375614"/>
        </pc:sldMkLst>
        <pc:spChg chg="mod">
          <ac:chgData name="Jallipalli, Lakshmi Susmitha Jayasri SBOBNG-PTIY/AAF" userId="04856b88-c793-4769-a00b-f1847eebc676" providerId="ADAL" clId="{55ED6280-51D9-47BF-97F5-BCBD04C310E6}" dt="2024-08-31T12:33:45.512" v="8183" actId="2"/>
          <ac:spMkLst>
            <pc:docMk/>
            <pc:sldMk cId="3865850111" sldId="2147375614"/>
            <ac:spMk id="6" creationId="{AC2F88D2-81D4-FAD4-568E-A3F495B06411}"/>
          </ac:spMkLst>
        </pc:spChg>
      </pc:sld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1/2024</a:t>
            </a:fld>
            <a:endParaRPr lang="en-US" dirty="0"/>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dirty="0"/>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1/08/2024</a:t>
            </a:fld>
            <a:endParaRPr lang="fr-FR"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dirty="0"/>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dirty="0"/>
              <a:t>Click icon to add media</a:t>
            </a:r>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dirty="0"/>
              <a:t>Click icon to add picture</a:t>
            </a:r>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dirty="0"/>
              <a:t>Click icon to add picture</a:t>
            </a:r>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dirty="0"/>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Jallipalli Lakshmi Susmitha Jayasri</a:t>
            </a:r>
          </a:p>
        </p:txBody>
      </p:sp>
      <p:sp>
        <p:nvSpPr>
          <p:cNvPr id="13" name="TextBox 12">
            <a:extLst>
              <a:ext uri="{FF2B5EF4-FFF2-40B4-BE49-F238E27FC236}">
                <a16:creationId xmlns:a16="http://schemas.microsoft.com/office/drawing/2014/main" id="{C48F8DD6-A1B3-8126-FAC3-218B712C7FFB}"/>
              </a:ext>
            </a:extLst>
          </p:cNvPr>
          <p:cNvSpPr txBox="1"/>
          <p:nvPr/>
        </p:nvSpPr>
        <p:spPr>
          <a:xfrm>
            <a:off x="684269" y="5501011"/>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hell uses business analytics to optimize operations and make data driven decisions. Agile methodology is applied to adapt quickly to changes and improve project efficiency.</a:t>
            </a:r>
          </a:p>
          <a:p>
            <a:pPr marL="0" indent="0">
              <a:buNone/>
            </a:pPr>
            <a:endParaRPr lang="en-US" sz="2000" dirty="0"/>
          </a:p>
          <a:p>
            <a:pPr marL="0" indent="0">
              <a:buNone/>
            </a:pPr>
            <a:r>
              <a:rPr lang="en-US" sz="2000" dirty="0"/>
              <a:t>These practices enhances operational efficiency, enable rapid adaptation to market changes, and drive innovation, leading to improves performance and competitive advantag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a:extLst>
              <a:ext uri="{FF2B5EF4-FFF2-40B4-BE49-F238E27FC236}">
                <a16:creationId xmlns:a16="http://schemas.microsoft.com/office/drawing/2014/main" id="{DF747A7B-B57C-8702-94BD-5FF37F486D6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799" y="1820863"/>
            <a:ext cx="5349007" cy="4194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706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Challenge:</a:t>
            </a:r>
            <a:r>
              <a:rPr lang="en-US" sz="2000" dirty="0"/>
              <a:t> Maintaining a professional image through etiquettes has been a challenge for me</a:t>
            </a:r>
          </a:p>
          <a:p>
            <a:pPr marL="0" indent="0">
              <a:buNone/>
            </a:pPr>
            <a:r>
              <a:rPr lang="en-US" sz="2000" b="1" dirty="0"/>
              <a:t>Plan: </a:t>
            </a:r>
            <a:r>
              <a:rPr lang="en-US" sz="2000" dirty="0"/>
              <a:t>Created several email drafts to help me familiarize myself with email etiquett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C9654071-0EC0-3816-0B54-B384555C8C37}"/>
              </a:ext>
            </a:extLst>
          </p:cNvPr>
          <p:cNvPicPr>
            <a:picLocks noChangeAspect="1"/>
          </p:cNvPicPr>
          <p:nvPr/>
        </p:nvPicPr>
        <p:blipFill>
          <a:blip r:embed="rId7"/>
          <a:stretch>
            <a:fillRect/>
          </a:stretch>
        </p:blipFill>
        <p:spPr>
          <a:xfrm>
            <a:off x="6488368" y="1870619"/>
            <a:ext cx="5350706" cy="4245044"/>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Challenge: </a:t>
            </a:r>
            <a:r>
              <a:rPr lang="en-US" sz="2000" dirty="0"/>
              <a:t>I tend to struggle with communication which I believe could become an obstacle in the future when dealing with stakeholders.</a:t>
            </a:r>
          </a:p>
          <a:p>
            <a:pPr marL="0" indent="0">
              <a:buNone/>
            </a:pPr>
            <a:r>
              <a:rPr lang="en-US" sz="2000" b="1" dirty="0"/>
              <a:t>Plan: </a:t>
            </a:r>
            <a:r>
              <a:rPr lang="en-US" sz="2000" dirty="0"/>
              <a:t>I started reading the book “How to develop self confidence by public speaking?” by Dale Carnegie to enhance my communication skil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book cover with red and white text&#10;&#10;Description automatically generated">
            <a:extLst>
              <a:ext uri="{FF2B5EF4-FFF2-40B4-BE49-F238E27FC236}">
                <a16:creationId xmlns:a16="http://schemas.microsoft.com/office/drawing/2014/main" id="{0BC8DA3C-03FA-81A9-65FF-93F17699C67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99100" y="1755988"/>
            <a:ext cx="5350706" cy="4181246"/>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Challenge: </a:t>
            </a:r>
            <a:r>
              <a:rPr lang="en-US" sz="2000" dirty="0"/>
              <a:t>I have difficulty in using Azure Devops as it is completely new website for me.</a:t>
            </a:r>
          </a:p>
          <a:p>
            <a:pPr marL="0" indent="0">
              <a:buNone/>
            </a:pPr>
            <a:r>
              <a:rPr lang="en-US" sz="2000" b="1" dirty="0"/>
              <a:t>Plan: </a:t>
            </a:r>
            <a:r>
              <a:rPr lang="en-US" sz="2000" dirty="0"/>
              <a:t>I kept exploring the Azure Devops in my free time so that I would be familiarized.</a:t>
            </a:r>
            <a:endParaRPr lang="en-US" sz="2000" b="1"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F8532A21-C41D-3D04-5876-B309738B6DC2}"/>
              </a:ext>
            </a:extLst>
          </p:cNvPr>
          <p:cNvPicPr>
            <a:picLocks noChangeAspect="1"/>
          </p:cNvPicPr>
          <p:nvPr/>
        </p:nvPicPr>
        <p:blipFill>
          <a:blip r:embed="rId7"/>
          <a:stretch>
            <a:fillRect/>
          </a:stretch>
        </p:blipFill>
        <p:spPr>
          <a:xfrm>
            <a:off x="6399100" y="1860993"/>
            <a:ext cx="5350705" cy="4076241"/>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ing Email Etiquette</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Reading book on how to build confidence</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Using Azure Devops for familiarization</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nteracting with my team </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2 days for drafting and 1 day for review</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Read for 30 minutes each day</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pend 20 minutes per day</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Have to review the drafts</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70% completed </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Got myself familiarized</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Met my LM and my buddy</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92758" y="1963817"/>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My facilitator for soft skills training Mrs Padmashree has been very patient and made sessions very interactive and fun. We had many activities such as roleplays, making charts that helped me interact with everyone.</a:t>
            </a:r>
          </a:p>
          <a:p>
            <a:pPr marL="0" indent="0">
              <a:buFont typeface="Arial" panose="020B0604020202020204" pitchFamily="34" charset="0"/>
              <a:buNone/>
            </a:pPr>
            <a:r>
              <a:rPr lang="en-US" sz="2000" dirty="0"/>
              <a:t>One of the group activity was to make a sentence with given words that was very fun because we came up with hilarious sentences and had a great time together.</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pic>
        <p:nvPicPr>
          <p:cNvPr id="7170" name="Picture 2">
            <a:extLst>
              <a:ext uri="{FF2B5EF4-FFF2-40B4-BE49-F238E27FC236}">
                <a16:creationId xmlns:a16="http://schemas.microsoft.com/office/drawing/2014/main" id="{2E0798B1-2D68-E153-ABC1-3F6A5CE1D8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30793" y="1963817"/>
            <a:ext cx="5520713" cy="4076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191918"/>
            <a:ext cx="9804401" cy="4442421"/>
          </a:xfrm>
          <a:prstGeom prst="rect">
            <a:avLst/>
          </a:prstGeom>
        </p:spPr>
        <p:txBody>
          <a:bodyPr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800" b="1" dirty="0"/>
              <a:t>Quick Summary:</a:t>
            </a:r>
          </a:p>
          <a:p>
            <a:pPr>
              <a:lnSpc>
                <a:spcPct val="100000"/>
              </a:lnSpc>
            </a:pPr>
            <a:r>
              <a:rPr lang="en-US" sz="1800" dirty="0"/>
              <a:t>Its not how much we work that matters; its how professionally we do it that counts</a:t>
            </a:r>
          </a:p>
          <a:p>
            <a:pPr>
              <a:lnSpc>
                <a:spcPct val="100000"/>
              </a:lnSpc>
            </a:pPr>
            <a:r>
              <a:rPr lang="en-US" sz="1800" dirty="0"/>
              <a:t>Never assume, Just ask if you are unclear about requirements</a:t>
            </a:r>
          </a:p>
          <a:p>
            <a:pPr marL="0" indent="0">
              <a:lnSpc>
                <a:spcPct val="100000"/>
              </a:lnSpc>
              <a:buNone/>
            </a:pPr>
            <a:r>
              <a:rPr lang="en-US" sz="1800" b="1" dirty="0"/>
              <a:t>Importance of topics in upcoming week:</a:t>
            </a:r>
          </a:p>
          <a:p>
            <a:pPr>
              <a:lnSpc>
                <a:spcPct val="100000"/>
              </a:lnSpc>
            </a:pPr>
            <a:r>
              <a:rPr lang="en-US" sz="1800" dirty="0"/>
              <a:t>DBMS, Software testing, Devops and Cloud are the topics for next week. </a:t>
            </a:r>
            <a:endParaRPr lang="en-US" sz="1800" b="1" dirty="0"/>
          </a:p>
          <a:p>
            <a:pPr>
              <a:lnSpc>
                <a:spcPct val="100000"/>
              </a:lnSpc>
            </a:pPr>
            <a:r>
              <a:rPr lang="en-US" sz="1800" dirty="0"/>
              <a:t>Importance- As Shell is data driven company, DBMS and cloud plays a major role in managing the data. </a:t>
            </a:r>
          </a:p>
          <a:p>
            <a:pPr>
              <a:lnSpc>
                <a:spcPct val="100000"/>
              </a:lnSpc>
            </a:pPr>
            <a:r>
              <a:rPr lang="en-US" sz="1800" dirty="0"/>
              <a:t>Software testing ensures product quality which is crucial for delivering a high quality product.</a:t>
            </a:r>
          </a:p>
          <a:p>
            <a:pPr>
              <a:lnSpc>
                <a:spcPct val="100000"/>
              </a:lnSpc>
            </a:pPr>
            <a:r>
              <a:rPr lang="en-US" sz="1800" dirty="0"/>
              <a:t>Devops helps in accelerating delivery of product.</a:t>
            </a:r>
          </a:p>
          <a:p>
            <a:pPr marL="0" indent="0">
              <a:lnSpc>
                <a:spcPct val="100000"/>
              </a:lnSpc>
              <a:buNone/>
            </a:pPr>
            <a:r>
              <a:rPr lang="en-US" sz="1800" b="1" dirty="0"/>
              <a:t>Connectivity of topics from current week:</a:t>
            </a:r>
          </a:p>
          <a:p>
            <a:pPr>
              <a:lnSpc>
                <a:spcPct val="100000"/>
              </a:lnSpc>
            </a:pPr>
            <a:r>
              <a:rPr lang="en-US" sz="1800" dirty="0"/>
              <a:t>Software testing is a phase in SDLC(Agile methodology) that is taught in this week. We can use Cloud for creating a environment for testing. </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I am not a person who just completes the task, I enjoy the process and grow through it”</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pic>
        <p:nvPicPr>
          <p:cNvPr id="6" name="Picture 5" descr="A person with a bun in her hair">
            <a:extLst>
              <a:ext uri="{FF2B5EF4-FFF2-40B4-BE49-F238E27FC236}">
                <a16:creationId xmlns:a16="http://schemas.microsoft.com/office/drawing/2014/main" id="{53AD419E-EB29-D460-6701-7886F933423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99098" y="1831738"/>
            <a:ext cx="5467781" cy="4118372"/>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b="1" dirty="0"/>
              <a:t>Key Learnings:</a:t>
            </a:r>
            <a:r>
              <a:rPr lang="en-US" sz="1800" dirty="0"/>
              <a:t> I have learned the importance of professionalism and its key attributes, including reliability, integrity and effective communication.</a:t>
            </a:r>
          </a:p>
          <a:p>
            <a:pPr marL="0" indent="0" algn="just">
              <a:buNone/>
            </a:pPr>
            <a:r>
              <a:rPr lang="en-US" sz="1800" b="1" dirty="0"/>
              <a:t>Key takeaways: </a:t>
            </a:r>
            <a:r>
              <a:rPr lang="en-US" sz="1800" dirty="0"/>
              <a:t>No matter how well you perform, professionalism and integrity must be cultivated to ensure long term success and credibility.</a:t>
            </a:r>
          </a:p>
          <a:p>
            <a:pPr marL="0" indent="0" algn="just">
              <a:buNone/>
            </a:pPr>
            <a:endParaRPr lang="en-US" sz="1800" dirty="0"/>
          </a:p>
          <a:p>
            <a:pPr marL="0" indent="0" algn="just">
              <a:buNone/>
            </a:pPr>
            <a:r>
              <a:rPr lang="en-US" sz="1800" dirty="0"/>
              <a:t>Just like every other sector, professionalism is vital for ensuring reliable operations, upholding ethical standards, and fostering communication in energy sector. Integrity and strong professional image are essential for building trust with stakeholders and effectively managing industry complexities</a:t>
            </a:r>
          </a:p>
          <a:p>
            <a:pPr marL="0" indent="0">
              <a:buNone/>
            </a:pPr>
            <a:endParaRPr lang="en-US" sz="1800" b="1" dirty="0"/>
          </a:p>
          <a:p>
            <a:pPr marL="0" indent="0">
              <a:buNone/>
            </a:pPr>
            <a:endParaRPr lang="en-US" sz="1800" b="1"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sp>
        <p:nvSpPr>
          <p:cNvPr id="6" name="Rectangle 3">
            <a:extLst>
              <a:ext uri="{FF2B5EF4-FFF2-40B4-BE49-F238E27FC236}">
                <a16:creationId xmlns:a16="http://schemas.microsoft.com/office/drawing/2014/main" id="{FBC938CB-415A-E7BC-B00B-1D916124BC48}"/>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5" name="Picture 4" descr="A white board with sticky notes on it&#10;&#10;Description automatically generated">
            <a:extLst>
              <a:ext uri="{FF2B5EF4-FFF2-40B4-BE49-F238E27FC236}">
                <a16:creationId xmlns:a16="http://schemas.microsoft.com/office/drawing/2014/main" id="{8192759F-85F4-D9CB-FE55-DE57B83CACD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800" y="1860992"/>
            <a:ext cx="5349006" cy="4076241"/>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b="1" dirty="0"/>
              <a:t>Key learnings: </a:t>
            </a:r>
            <a:r>
              <a:rPr lang="en-US" sz="1800" dirty="0"/>
              <a:t>I have learned how to manage stakeholders effectively and understood Shell’s trust model focused on credibility, reliability and intimacy.</a:t>
            </a:r>
          </a:p>
          <a:p>
            <a:pPr marL="0" indent="0">
              <a:buFont typeface="Arial" panose="020B0604020202020204" pitchFamily="34" charset="0"/>
              <a:buNone/>
            </a:pPr>
            <a:r>
              <a:rPr lang="en-US" sz="1800" b="1" dirty="0"/>
              <a:t>Key takeaways: </a:t>
            </a:r>
            <a:r>
              <a:rPr lang="en-US" sz="1800" dirty="0"/>
              <a:t>Trust is established through consistent communication and fulfilling commitments. Successful Stakeholder management involves understanding and addressing needs and interests of all the parties involved.</a:t>
            </a:r>
          </a:p>
          <a:p>
            <a:pPr marL="0" indent="0">
              <a:buFont typeface="Arial" panose="020B0604020202020204" pitchFamily="34" charset="0"/>
              <a:buNone/>
            </a:pPr>
            <a:endParaRPr lang="en-US" sz="1800" dirty="0"/>
          </a:p>
          <a:p>
            <a:pPr marL="0" indent="0">
              <a:buFont typeface="Arial" panose="020B0604020202020204" pitchFamily="34" charset="0"/>
              <a:buNone/>
            </a:pPr>
            <a:r>
              <a:rPr lang="en-US" sz="1800" dirty="0"/>
              <a:t>At Shell, trust is fostered through transparent operations and reliable communication. Stakeholder management involves actively engaging with diverse groups and aligning projects with their interests to ensure mutual succes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2050" name="Picture 2">
            <a:extLst>
              <a:ext uri="{FF2B5EF4-FFF2-40B4-BE49-F238E27FC236}">
                <a16:creationId xmlns:a16="http://schemas.microsoft.com/office/drawing/2014/main" id="{320DE141-5FE6-3935-2CC4-E1EED0EB340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799" y="1860993"/>
            <a:ext cx="5245769" cy="4076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2"/>
            <a:ext cx="5653806" cy="440505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b="1" dirty="0"/>
              <a:t>Key learnings: </a:t>
            </a:r>
            <a:r>
              <a:rPr lang="en-US" sz="1800" dirty="0"/>
              <a:t>I have learned how to leverage business analytics, manage requirements effectively, and apply Agile methodologies for flexible project requirement and how to implement Agile methodology in </a:t>
            </a:r>
            <a:r>
              <a:rPr lang="en-US" sz="1800" dirty="0" err="1"/>
              <a:t>devops</a:t>
            </a:r>
            <a:r>
              <a:rPr lang="en-US" sz="1800" dirty="0"/>
              <a:t>.</a:t>
            </a:r>
          </a:p>
          <a:p>
            <a:pPr marL="0" indent="0">
              <a:buFont typeface="Arial" panose="020B0604020202020204" pitchFamily="34" charset="0"/>
              <a:buNone/>
            </a:pPr>
            <a:r>
              <a:rPr lang="en-US" sz="1800" b="1" dirty="0"/>
              <a:t>Key Takeaways: </a:t>
            </a:r>
            <a:r>
              <a:rPr lang="en-US" sz="1800" dirty="0"/>
              <a:t>Business Analyst plays a key role in understanding requirements and plays a major role in project. Also never assume requirements, Just ask if you are not clear. Agile methodology is very efficient when compared to waterfall model since change is very constant in a project.</a:t>
            </a:r>
          </a:p>
          <a:p>
            <a:pPr marL="0" indent="0">
              <a:buFont typeface="Arial" panose="020B0604020202020204" pitchFamily="34" charset="0"/>
              <a:buNone/>
            </a:pPr>
            <a:endParaRPr lang="en-US" sz="1800" dirty="0"/>
          </a:p>
          <a:p>
            <a:pPr marL="0" indent="0">
              <a:buFont typeface="Arial" panose="020B0604020202020204" pitchFamily="34" charset="0"/>
              <a:buNone/>
            </a:pPr>
            <a:r>
              <a:rPr lang="en-US" sz="1800" dirty="0"/>
              <a:t>At Shell, business analytics improves drilling efficiency, and Agile methods enable rapid adaptation to industry changes and foster continuous improvement.</a:t>
            </a:r>
          </a:p>
          <a:p>
            <a:pPr marL="0" indent="0">
              <a:buFont typeface="Arial" panose="020B0604020202020204" pitchFamily="34" charset="0"/>
              <a:buNone/>
            </a:pPr>
            <a:endParaRPr lang="en-US" sz="1800" dirty="0"/>
          </a:p>
          <a:p>
            <a:pPr marL="0" indent="0">
              <a:buFont typeface="Arial" panose="020B0604020202020204" pitchFamily="34" charset="0"/>
              <a:buNone/>
            </a:pPr>
            <a:r>
              <a:rPr lang="en-US" sz="1800" dirty="0"/>
              <a:t>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2"/>
            <a:ext cx="5350706" cy="432805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5" name="Picture 4" descr="A notebook with writing on it&#10;&#10;Description automatically generated">
            <a:extLst>
              <a:ext uri="{FF2B5EF4-FFF2-40B4-BE49-F238E27FC236}">
                <a16:creationId xmlns:a16="http://schemas.microsoft.com/office/drawing/2014/main" id="{87472080-581D-3F9D-81DB-D70183D8F7F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800" y="1860992"/>
            <a:ext cx="5406432" cy="4328051"/>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Shell implements professionalism through rigorous standards and high quality work, while effective communication is ensured through clear, consistent messaging and reporting across organization.</a:t>
            </a:r>
          </a:p>
          <a:p>
            <a:pPr marL="0" indent="0">
              <a:buNone/>
            </a:pPr>
            <a:endParaRPr lang="en-US" sz="2000" dirty="0"/>
          </a:p>
          <a:p>
            <a:pPr marL="0" indent="0">
              <a:buNone/>
            </a:pPr>
            <a:endParaRPr lang="en-US" sz="2000" dirty="0"/>
          </a:p>
          <a:p>
            <a:pPr marL="0" indent="0">
              <a:buNone/>
            </a:pPr>
            <a:r>
              <a:rPr lang="en-US" sz="1800" dirty="0"/>
              <a:t>Shell benefits from professionalism and effective communication by building a strong reputation, fostering trust with stakeholders. This approach reduces miscommunications, enhances collaboration, and supports successful project outcome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a:extLst>
              <a:ext uri="{FF2B5EF4-FFF2-40B4-BE49-F238E27FC236}">
                <a16:creationId xmlns:a16="http://schemas.microsoft.com/office/drawing/2014/main" id="{B48A67E8-62F0-4C54-FCAC-C8025AE2457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798" y="1860993"/>
            <a:ext cx="5449634" cy="4076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Shell implements stakeholder management by actively engaging with various groups, addressing their concerns and aligning projects with their interests. Trust is built through transparent operations, ethical practices, and consistent communication.</a:t>
            </a:r>
          </a:p>
          <a:p>
            <a:pPr marL="0" indent="0">
              <a:buNone/>
            </a:pPr>
            <a:endParaRPr lang="en-US" sz="1800" dirty="0"/>
          </a:p>
          <a:p>
            <a:pPr marL="0" indent="0">
              <a:buNone/>
            </a:pPr>
            <a:endParaRPr lang="en-US" sz="1800" dirty="0"/>
          </a:p>
          <a:p>
            <a:pPr marL="0" indent="0">
              <a:buNone/>
            </a:pPr>
            <a:r>
              <a:rPr lang="en-US" sz="1800" dirty="0"/>
              <a:t>Shell benefits from effective stakeholder management and trust building by improving project support, reducing conflicts and enhancing its repu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10424" y="18706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a:extLst>
              <a:ext uri="{FF2B5EF4-FFF2-40B4-BE49-F238E27FC236}">
                <a16:creationId xmlns:a16="http://schemas.microsoft.com/office/drawing/2014/main" id="{4383E360-7D2C-646F-B3A9-DA18E75EAE5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10424" y="1819019"/>
            <a:ext cx="5339382" cy="411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1DADF44A-8650-472F-B2D9-50E27F0769F7}">
  <ds:schemaRefs>
    <ds:schemaRef ds:uri="d64320fb-f9a3-4131-8206-9d18da17abe9"/>
    <ds:schemaRef ds:uri="http://purl.org/dc/terms/"/>
    <ds:schemaRef ds:uri="http://purl.org/dc/elements/1.1/"/>
    <ds:schemaRef ds:uri="http://schemas.microsoft.com/office/2006/metadata/properties"/>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 ds:uri="489eda54-cdc8-4a48-94a2-8f9cf8024289"/>
    <ds:schemaRef ds:uri="http://purl.org/dc/dcmitype/"/>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551</TotalTime>
  <Words>1099</Words>
  <Application>Microsoft Office PowerPoint</Application>
  <PresentationFormat>Widescreen</PresentationFormat>
  <Paragraphs>116</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Jallipalli, Lakshmi Susmitha Jayasri SBOBNG-PTIY/AAF</cp:lastModifiedBy>
  <cp:revision>499</cp:revision>
  <dcterms:created xsi:type="dcterms:W3CDTF">2022-01-18T12:35:56Z</dcterms:created>
  <dcterms:modified xsi:type="dcterms:W3CDTF">2024-08-31T12:5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